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54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782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7550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06571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4274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3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0705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5123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381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59319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80896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64347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1991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0724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5503519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450924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164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355532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37522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96878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9189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52778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79033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65259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2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34d541ea9fec9c3688a7a489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B4CE4608-BD6C-4A40-94DC-C86EBAC7F090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8743005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>
            <a:extLst>
              <a:ext uri="{FF2B5EF4-FFF2-40B4-BE49-F238E27FC236}">
                <a16:creationId xmlns:a16="http://schemas.microsoft.com/office/drawing/2014/main" id="{FDE5C20F-0EE7-4D73-B4F9-180D6A2F7A25}"/>
              </a:ext>
            </a:extLst>
          </p:cNvPr>
          <p:cNvGrpSpPr>
            <a:grpSpLocks/>
          </p:cNvGrpSpPr>
          <p:nvPr/>
        </p:nvGrpSpPr>
        <p:grpSpPr bwMode="auto">
          <a:xfrm>
            <a:off x="624136" y="1680780"/>
            <a:ext cx="7997390" cy="4226243"/>
            <a:chOff x="650875" y="1906363"/>
            <a:chExt cx="7991475" cy="4042393"/>
          </a:xfrm>
        </p:grpSpPr>
        <p:sp>
          <p:nvSpPr>
            <p:cNvPr id="15" name="Rechteck 3">
              <a:extLst>
                <a:ext uri="{FF2B5EF4-FFF2-40B4-BE49-F238E27FC236}">
                  <a16:creationId xmlns:a16="http://schemas.microsoft.com/office/drawing/2014/main" id="{410A2E0B-6F7A-4BEB-B2D2-814A8F410176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NUTZEN UND VORTEILE</a:t>
              </a:r>
            </a:p>
          </p:txBody>
        </p:sp>
        <p:sp>
          <p:nvSpPr>
            <p:cNvPr id="18" name="Rechteck 4">
              <a:extLst>
                <a:ext uri="{FF2B5EF4-FFF2-40B4-BE49-F238E27FC236}">
                  <a16:creationId xmlns:a16="http://schemas.microsoft.com/office/drawing/2014/main" id="{748B2BBF-4F06-41CE-BD7E-D69A5AEF7EC5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Rechteck 11">
              <a:extLst>
                <a:ext uri="{FF2B5EF4-FFF2-40B4-BE49-F238E27FC236}">
                  <a16:creationId xmlns:a16="http://schemas.microsoft.com/office/drawing/2014/main" id="{5341CE45-A92B-47F2-8F0D-5C74243CC901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marR="0" lvl="0" indent="-179593" algn="l" defTabSz="862049" rtl="0" eaLnBrk="1" fontAlgn="base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BESCHREIBUNG</a:t>
              </a:r>
            </a:p>
          </p:txBody>
        </p:sp>
        <p:sp>
          <p:nvSpPr>
            <p:cNvPr id="20" name="Rechteck 12">
              <a:extLst>
                <a:ext uri="{FF2B5EF4-FFF2-40B4-BE49-F238E27FC236}">
                  <a16:creationId xmlns:a16="http://schemas.microsoft.com/office/drawing/2014/main" id="{616FFC06-CCAA-4D3A-B504-3F9ADEEFF85E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onende Handhabung der Produkte für beste Effizienz</a:t>
            </a: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669925" y="5979790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de-DE" sz="800" dirty="0"/>
              <a:t>Nutzen: Effizienz, Flexibilität</a:t>
            </a:r>
          </a:p>
          <a:p>
            <a:r>
              <a:rPr lang="de-DE" sz="800" dirty="0"/>
              <a:t>Ausstattung: Pal/</a:t>
            </a:r>
            <a:r>
              <a:rPr lang="de-DE" sz="800" dirty="0" err="1"/>
              <a:t>Depal</a:t>
            </a:r>
            <a:r>
              <a:rPr lang="de-DE" sz="800" dirty="0"/>
              <a:t> </a:t>
            </a:r>
          </a:p>
          <a:p>
            <a:r>
              <a:rPr lang="de-DE" sz="800"/>
              <a:t>Katalog-Code: EOL031</a:t>
            </a:r>
            <a:endParaRPr lang="de-DE" sz="80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533A6C7-8C31-4DFB-A9E4-4F3D23922BF7}"/>
              </a:ext>
            </a:extLst>
          </p:cNvPr>
          <p:cNvSpPr txBox="1">
            <a:spLocks/>
          </p:cNvSpPr>
          <p:nvPr/>
        </p:nvSpPr>
        <p:spPr bwMode="auto">
          <a:xfrm>
            <a:off x="647127" y="1391855"/>
            <a:ext cx="75390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AXOSMART</a:t>
            </a:r>
          </a:p>
        </p:txBody>
      </p:sp>
      <p:sp>
        <p:nvSpPr>
          <p:cNvPr id="21" name="Rettangolo 11">
            <a:extLst>
              <a:ext uri="{FF2B5EF4-FFF2-40B4-BE49-F238E27FC236}">
                <a16:creationId xmlns:a16="http://schemas.microsoft.com/office/drawing/2014/main" id="{95B83833-8EF5-4C81-AD44-0BA4557E1725}"/>
              </a:ext>
            </a:extLst>
          </p:cNvPr>
          <p:cNvSpPr/>
          <p:nvPr/>
        </p:nvSpPr>
        <p:spPr>
          <a:xfrm>
            <a:off x="647127" y="2071627"/>
            <a:ext cx="3897012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pPr>
              <a:buClr>
                <a:schemeClr val="accent4"/>
              </a:buClr>
            </a:pPr>
            <a:r>
              <a:rPr lang="de-DE" sz="1000" b="1" dirty="0"/>
              <a:t>Produktivität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000" dirty="0"/>
              <a:t>Sicherstellung einer höheren Produktivität, Präzision, Effizienz und Verpackungsqualität, weiter verbessert durch die Möglichkeit, mehrere Gebinde im selben Zyklus zu greifen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000" dirty="0"/>
              <a:t>Die Vorrichtung kann alle Arten von Sekundärverpackung (Kartons, Gebinde und Kisten) mit extremer Präzision handhaben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000" dirty="0"/>
              <a:t>Ideal für die Handhabung empfindlicherer Gebinde/Behälter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000" dirty="0"/>
              <a:t>Vollständig durch Software gesteuerter schneller Format- und </a:t>
            </a:r>
            <a:r>
              <a:rPr lang="de-DE" sz="1000" dirty="0" err="1"/>
              <a:t>Palettierschemawechsel</a:t>
            </a:r>
            <a:r>
              <a:rPr lang="de-DE" sz="1000" dirty="0"/>
              <a:t> (ohne manuelle mechanische Einstellungen)</a:t>
            </a:r>
          </a:p>
          <a:p>
            <a:pPr>
              <a:buClr>
                <a:schemeClr val="accent4"/>
              </a:buClr>
            </a:pPr>
            <a:r>
              <a:rPr lang="de-DE" sz="1000" b="1" dirty="0"/>
              <a:t>Wartung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000" dirty="0"/>
              <a:t>Geringerer Wartungsbedarf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sp>
        <p:nvSpPr>
          <p:cNvPr id="22" name="Rettangolo 11">
            <a:extLst>
              <a:ext uri="{FF2B5EF4-FFF2-40B4-BE49-F238E27FC236}">
                <a16:creationId xmlns:a16="http://schemas.microsoft.com/office/drawing/2014/main" id="{3D3E1DD3-3EC1-451E-A452-E79298D9F6B1}"/>
              </a:ext>
            </a:extLst>
          </p:cNvPr>
          <p:cNvSpPr/>
          <p:nvPr/>
        </p:nvSpPr>
        <p:spPr>
          <a:xfrm>
            <a:off x="4757021" y="2071626"/>
            <a:ext cx="3897012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r>
              <a:rPr lang="de-DE" sz="1000" dirty="0"/>
              <a:t>Die </a:t>
            </a:r>
            <a:r>
              <a:rPr lang="de-DE" sz="1000" b="1" dirty="0"/>
              <a:t>AXOSMART</a:t>
            </a:r>
            <a:r>
              <a:rPr lang="de-DE" sz="1000" dirty="0"/>
              <a:t> ™ 1 oder 2 Module ist die ideale Maschine im Hinblick auf Installationsraum und Upgrade der Einlaufprodukt-Handhabung. </a:t>
            </a:r>
          </a:p>
          <a:p>
            <a:r>
              <a:rPr lang="de-DE" sz="1000" dirty="0"/>
              <a:t>Sie besteht aus folgenden Elementen:</a:t>
            </a:r>
          </a:p>
          <a:p>
            <a:r>
              <a:rPr lang="de-DE" sz="1000" dirty="0"/>
              <a:t>-Ein Dosierförderer, der Produkte zählt und trennt</a:t>
            </a:r>
          </a:p>
          <a:p>
            <a:r>
              <a:rPr lang="de-DE" sz="1000" dirty="0"/>
              <a:t>-Ein Transfertisch bestehend aus einer flachen Gittermatte (für Kanalisierung und Transport der Gebinde mit der richtigen Geschwindigkeit)</a:t>
            </a:r>
          </a:p>
          <a:p>
            <a:r>
              <a:rPr lang="de-DE" sz="1000" dirty="0"/>
              <a:t>-Ein oder mehr Greifköpfe – die die Gebinde übergeben und in die korrekte Position drehen.</a:t>
            </a:r>
          </a:p>
          <a:p>
            <a:r>
              <a:rPr lang="de-DE" sz="1000" dirty="0"/>
              <a:t>-Ein Lagenbildungstisch zur Positionierung der Gebinde gemäß dem gewählten </a:t>
            </a:r>
            <a:r>
              <a:rPr lang="de-DE" sz="1000" dirty="0" err="1"/>
              <a:t>Palettierschema</a:t>
            </a:r>
            <a:r>
              <a:rPr lang="de-DE" sz="1000" dirty="0"/>
              <a:t>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pic>
        <p:nvPicPr>
          <p:cNvPr id="23" name="Picture 1">
            <a:extLst>
              <a:ext uri="{FF2B5EF4-FFF2-40B4-BE49-F238E27FC236}">
                <a16:creationId xmlns:a16="http://schemas.microsoft.com/office/drawing/2014/main" id="{52A7DF8F-20E6-4EF7-A253-902AA44276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9077" y="4366692"/>
            <a:ext cx="1941002" cy="134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>
            <a:extLst>
              <a:ext uri="{FF2B5EF4-FFF2-40B4-BE49-F238E27FC236}">
                <a16:creationId xmlns:a16="http://schemas.microsoft.com/office/drawing/2014/main" id="{CDFC4623-4326-4EFC-98CB-D5E74F1750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6734" y="4329456"/>
            <a:ext cx="2112828" cy="1412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26785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8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Schonende Handhabung der Produkte für beste Effizienz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66</cp:revision>
  <cp:lastPrinted>2017-09-01T14:01:41Z</cp:lastPrinted>
  <dcterms:created xsi:type="dcterms:W3CDTF">2017-07-10T14:51:51Z</dcterms:created>
  <dcterms:modified xsi:type="dcterms:W3CDTF">2019-06-26T13:5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5:57:10.6401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